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Default Extension="bin" ContentType="application/vnd.openxmlformats-officedocument.oleObject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20" autoAdjust="0"/>
    <p:restoredTop sz="94619" autoAdjust="0"/>
  </p:normalViewPr>
  <p:slideViewPr>
    <p:cSldViewPr>
      <p:cViewPr varScale="1">
        <p:scale>
          <a:sx n="116" d="100"/>
          <a:sy n="116" d="100"/>
        </p:scale>
        <p:origin x="-173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7048141F-8E8B-43D1-B765-C2DDD57AB7E7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10" r:id="rId8" imgW="0" imgH="0" progId="">
              <p:embed/>
            </p:oleObj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BB569AE-6BD3-430D-B49B-6C3DBF05E69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8A861BF-15D9-442A-AE8A-40F42B6FE22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37BF7B-4974-4536-9485-B1CA4D50CDC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F95F235-C769-4687-B6D7-86CAA84B7A6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92F78ED-6923-401F-92F5-7FCA40716EA5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504F8DA-8A9B-4A23-A69E-2B927E06CB9F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C978358-F0B7-49D0-ABAF-E225B1502023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E376D14-9DA3-4E3C-AE00-E14916E087B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6322724-B9EC-4C75-AF9D-5169D1BB4517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E16630-2C17-439B-A6C8-882A4044A25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8F172BAF-12D8-4602-9F9F-1C0CA431801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04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2" r:id="rId21" imgW="0" imgH="0" progId="">
              <p:embed/>
            </p:oleObj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06417"/>
            <a:ext cx="8061325" cy="384721"/>
          </a:xfrm>
        </p:spPr>
        <p:txBody>
          <a:bodyPr/>
          <a:lstStyle/>
          <a:p>
            <a:r>
              <a:rPr lang="de-DE" dirty="0" smtClean="0"/>
              <a:t>1. Meilenstein DBPRO –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 smtClean="0"/>
              <a:t>Linh | Julia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857224" y="2357430"/>
            <a:ext cx="8061325" cy="3641725"/>
          </a:xfrm>
        </p:spPr>
        <p:txBody>
          <a:bodyPr/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Aufgab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Ziel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Problem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Roadmap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Bis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rreicht</a:t>
            </a: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Probleme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Charakteristisch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schaft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mathematisc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dentifizier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und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Crawling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pedia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Datentypen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– </a:t>
            </a:r>
            <a:r>
              <a:rPr lang="fr-FR" dirty="0" err="1" smtClean="0">
                <a:solidFill>
                  <a:schemeClr val="tx1"/>
                </a:solidFill>
              </a:rPr>
              <a:t>Modellierung</a:t>
            </a:r>
            <a:r>
              <a:rPr lang="fr-FR" dirty="0" smtClean="0">
                <a:solidFill>
                  <a:schemeClr val="tx1"/>
                </a:solidFill>
              </a:rPr>
              <a:t> &amp; </a:t>
            </a:r>
            <a:r>
              <a:rPr lang="fr-FR" dirty="0" err="1" smtClean="0">
                <a:solidFill>
                  <a:schemeClr val="tx1"/>
                </a:solidFill>
              </a:rPr>
              <a:t>Implementierung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Warum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genügt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ohn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Datentyp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ü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nicht</a:t>
            </a:r>
            <a:r>
              <a:rPr lang="fr-FR" dirty="0" smtClean="0">
                <a:solidFill>
                  <a:schemeClr val="tx1"/>
                </a:solidFill>
              </a:rPr>
              <a:t>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nformationsbeschaff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aufwendig</a:t>
            </a:r>
            <a:r>
              <a:rPr lang="fr-FR" dirty="0" smtClean="0">
                <a:solidFill>
                  <a:schemeClr val="tx1"/>
                </a:solidFill>
              </a:rPr>
              <a:t> (Open Source </a:t>
            </a:r>
            <a:r>
              <a:rPr lang="fr-FR" dirty="0" err="1" smtClean="0">
                <a:solidFill>
                  <a:schemeClr val="tx1"/>
                </a:solidFill>
              </a:rPr>
              <a:t>Projekt</a:t>
            </a:r>
            <a:r>
              <a:rPr lang="fr-FR" dirty="0">
                <a:solidFill>
                  <a:schemeClr val="tx1"/>
                </a:solidFill>
              </a:rPr>
              <a:t>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3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Was wir erreicht haben bish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de-DE" dirty="0" smtClean="0"/>
              <a:t>Keine gewichtigen Ergebnisse bis hierhi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Organisation von Zugängen, Repository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Einarbeitung in zentrales Konzept von </a:t>
            </a:r>
            <a:r>
              <a:rPr lang="de-DE" dirty="0" err="1" smtClean="0"/>
              <a:t>Wikidata</a:t>
            </a:r>
            <a:r>
              <a:rPr lang="de-DE" dirty="0" smtClean="0"/>
              <a:t>: </a:t>
            </a:r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Darstellung der Daten als </a:t>
            </a:r>
            <a:r>
              <a:rPr lang="de-DE" dirty="0" err="1" smtClean="0"/>
              <a:t>items</a:t>
            </a:r>
            <a:r>
              <a:rPr lang="de-DE" dirty="0" smtClean="0"/>
              <a:t> und </a:t>
            </a:r>
            <a:r>
              <a:rPr lang="de-DE" dirty="0" err="1" smtClean="0"/>
              <a:t>properties</a:t>
            </a:r>
            <a:endParaRPr lang="de-DE" dirty="0" smtClean="0"/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Zusammengesetzte Datentype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 smtClean="0"/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7737BF7B-4974-4536-9485-B1CA4D50CDC2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Meilenstein-1-am-15.11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</Words>
  <Application>Microsoft Office PowerPoint</Application>
  <PresentationFormat>Bildschirmpräsentation (4:3)</PresentationFormat>
  <Paragraphs>26</Paragraphs>
  <Slides>4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0</vt:i4>
      </vt:variant>
      <vt:variant>
        <vt:lpstr>Folientitel</vt:lpstr>
      </vt:variant>
      <vt:variant>
        <vt:i4>4</vt:i4>
      </vt:variant>
    </vt:vector>
  </HeadingPairs>
  <TitlesOfParts>
    <vt:vector size="5" baseType="lpstr">
      <vt:lpstr>Meilenstein-1-am-15.11</vt:lpstr>
      <vt:lpstr>1. Meilenstein DBPRO – Wikidata formula </vt:lpstr>
      <vt:lpstr>Inhalt</vt:lpstr>
      <vt:lpstr>Probleme</vt:lpstr>
      <vt:lpstr>Was wir erreicht haben bisher</vt:lpstr>
    </vt:vector>
  </TitlesOfParts>
  <Company>Pentiu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Meilenstein DBPRO – Wikidata formula</dc:title>
  <dc:creator>jh</dc:creator>
  <cp:lastModifiedBy>jh</cp:lastModifiedBy>
  <cp:revision>9</cp:revision>
  <dcterms:created xsi:type="dcterms:W3CDTF">2015-11-12T00:15:56Z</dcterms:created>
  <dcterms:modified xsi:type="dcterms:W3CDTF">2015-11-12T16:42:13Z</dcterms:modified>
</cp:coreProperties>
</file>